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4"/>
  </p:sldMasterIdLst>
  <p:notesMasterIdLst>
    <p:notesMasterId r:id="rId6"/>
  </p:notesMasterIdLst>
  <p:handoutMasterIdLst>
    <p:handoutMasterId r:id="rId7"/>
  </p:handoutMasterIdLst>
  <p:sldIdLst>
    <p:sldId id="1209" r:id="rId5"/>
  </p:sldIdLst>
  <p:sldSz cx="9144000" cy="6858000" type="screen4x3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F5E00"/>
    <a:srgbClr val="AF5400"/>
    <a:srgbClr val="FF9900"/>
    <a:srgbClr val="00FF00"/>
    <a:srgbClr val="7AFF7A"/>
    <a:srgbClr val="00FFFF"/>
    <a:srgbClr val="00B0F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510" autoAdjust="0"/>
    <p:restoredTop sz="94660"/>
  </p:normalViewPr>
  <p:slideViewPr>
    <p:cSldViewPr snapToGrid="0" showGuides="1">
      <p:cViewPr varScale="1">
        <p:scale>
          <a:sx n="110" d="100"/>
          <a:sy n="110" d="100"/>
        </p:scale>
        <p:origin x="176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0"/>
    </p:cViewPr>
  </p:sorterViewPr>
  <p:notesViewPr>
    <p:cSldViewPr snapToGrid="0">
      <p:cViewPr>
        <p:scale>
          <a:sx n="125" d="100"/>
          <a:sy n="125" d="100"/>
        </p:scale>
        <p:origin x="2052" y="-3432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20/04/2021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4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7554690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2" hidden="1">
            <a:extLst>
              <a:ext uri="{FF2B5EF4-FFF2-40B4-BE49-F238E27FC236}">
                <a16:creationId xmlns:a16="http://schemas.microsoft.com/office/drawing/2014/main" id="{75CC86C9-A75F-4828-99A7-30A16A7FD5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2" hidden="1">
                        <a:extLst>
                          <a:ext uri="{FF2B5EF4-FFF2-40B4-BE49-F238E27FC236}">
                            <a16:creationId xmlns:a16="http://schemas.microsoft.com/office/drawing/2014/main" id="{75CC86C9-A75F-4828-99A7-30A16A7FD5EB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0838011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heme" Target="../theme/theme1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0" name="think-cell Folie" r:id="rId7" imgW="399" imgH="399" progId="TCLayout.ActiveDocument.1">
                  <p:embed/>
                </p:oleObj>
              </mc:Choice>
              <mc:Fallback>
                <p:oleObj name="think-cell Folie" r:id="rId7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de-DE" noProof="1"/>
              <a:t>Titelmasterformat durch Klicken bearbeiten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6" name="Footer Placeholder 3"/>
          <p:cNvSpPr txBox="1">
            <a:spLocks/>
          </p:cNvSpPr>
          <p:nvPr/>
        </p:nvSpPr>
        <p:spPr>
          <a:xfrm>
            <a:off x="1378446" y="6471704"/>
            <a:ext cx="2782813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HS128 – </a:t>
            </a:r>
            <a:r>
              <a:rPr lang="en-US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CO2 Extraction for Fillers</a:t>
            </a:r>
            <a:r>
              <a:rPr lang="en-GB" dirty="0">
                <a:solidFill>
                  <a:srgbClr val="7F7F7F"/>
                </a:solidFill>
              </a:rPr>
              <a:t>, </a:t>
            </a:r>
            <a:fld id="{AF6A7A01-F0BB-4441-BAB9-3E7CB064C4A1}" type="datetime4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0 April 2021</a:t>
            </a:fld>
            <a:endParaRPr lang="en-GB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</a:pPr>
            <a:r>
              <a:rPr lang="en-GB" dirty="0">
                <a:solidFill>
                  <a:srgbClr val="7F7F7F"/>
                </a:solidFill>
              </a:rPr>
              <a:t>Page </a:t>
            </a:r>
            <a:fld id="{7873E190-40CF-412D-9604-1EFCEB1508B2}" type="slidenum">
              <a:rPr lang="en-GB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t>‹#›</a:t>
            </a:fld>
            <a:endParaRPr lang="en-GB" dirty="0">
              <a:solidFill>
                <a:srgbClr val="7F7F7F"/>
              </a:solidFill>
            </a:endParaRPr>
          </a:p>
        </p:txBody>
      </p:sp>
      <p:grpSp>
        <p:nvGrpSpPr>
          <p:cNvPr id="88" name="Group 7"/>
          <p:cNvGrpSpPr>
            <a:grpSpLocks/>
          </p:cNvGrpSpPr>
          <p:nvPr/>
        </p:nvGrpSpPr>
        <p:grpSpPr bwMode="auto">
          <a:xfrm>
            <a:off x="7722394" y="6498640"/>
            <a:ext cx="921544" cy="252408"/>
            <a:chOff x="1005" y="1644"/>
            <a:chExt cx="3749" cy="1030"/>
          </a:xfrm>
        </p:grpSpPr>
        <p:sp>
          <p:nvSpPr>
            <p:cNvPr id="89" name="Freeform 8"/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0" name="Freeform 9"/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359 w 501"/>
                <a:gd name="T1" fmla="*/ 313 h 429"/>
                <a:gd name="T2" fmla="*/ 339 w 501"/>
                <a:gd name="T3" fmla="*/ 287 h 429"/>
                <a:gd name="T4" fmla="*/ 331 w 501"/>
                <a:gd name="T5" fmla="*/ 277 h 429"/>
                <a:gd name="T6" fmla="*/ 288 w 501"/>
                <a:gd name="T7" fmla="*/ 257 h 429"/>
                <a:gd name="T8" fmla="*/ 232 w 501"/>
                <a:gd name="T9" fmla="*/ 313 h 429"/>
                <a:gd name="T10" fmla="*/ 288 w 501"/>
                <a:gd name="T11" fmla="*/ 368 h 429"/>
                <a:gd name="T12" fmla="*/ 331 w 501"/>
                <a:gd name="T13" fmla="*/ 348 h 429"/>
                <a:gd name="T14" fmla="*/ 339 w 501"/>
                <a:gd name="T15" fmla="*/ 338 h 429"/>
                <a:gd name="T16" fmla="*/ 359 w 501"/>
                <a:gd name="T17" fmla="*/ 313 h 429"/>
                <a:gd name="T18" fmla="*/ 162 w 501"/>
                <a:gd name="T19" fmla="*/ 312 h 429"/>
                <a:gd name="T20" fmla="*/ 288 w 501"/>
                <a:gd name="T21" fmla="*/ 188 h 429"/>
                <a:gd name="T22" fmla="*/ 384 w 501"/>
                <a:gd name="T23" fmla="*/ 232 h 429"/>
                <a:gd name="T24" fmla="*/ 385 w 501"/>
                <a:gd name="T25" fmla="*/ 234 h 429"/>
                <a:gd name="T26" fmla="*/ 387 w 501"/>
                <a:gd name="T27" fmla="*/ 233 h 429"/>
                <a:gd name="T28" fmla="*/ 250 w 501"/>
                <a:gd name="T29" fmla="*/ 0 h 429"/>
                <a:gd name="T30" fmla="*/ 0 w 501"/>
                <a:gd name="T31" fmla="*/ 429 h 429"/>
                <a:gd name="T32" fmla="*/ 244 w 501"/>
                <a:gd name="T33" fmla="*/ 429 h 429"/>
                <a:gd name="T34" fmla="*/ 245 w 501"/>
                <a:gd name="T35" fmla="*/ 428 h 429"/>
                <a:gd name="T36" fmla="*/ 220 w 501"/>
                <a:gd name="T37" fmla="*/ 417 h 429"/>
                <a:gd name="T38" fmla="*/ 162 w 501"/>
                <a:gd name="T39" fmla="*/ 312 h 429"/>
                <a:gd name="T40" fmla="*/ 496 w 501"/>
                <a:gd name="T41" fmla="*/ 427 h 429"/>
                <a:gd name="T42" fmla="*/ 470 w 501"/>
                <a:gd name="T43" fmla="*/ 420 h 429"/>
                <a:gd name="T44" fmla="*/ 405 w 501"/>
                <a:gd name="T45" fmla="*/ 367 h 429"/>
                <a:gd name="T46" fmla="*/ 380 w 501"/>
                <a:gd name="T47" fmla="*/ 398 h 429"/>
                <a:gd name="T48" fmla="*/ 333 w 501"/>
                <a:gd name="T49" fmla="*/ 428 h 429"/>
                <a:gd name="T50" fmla="*/ 333 w 501"/>
                <a:gd name="T51" fmla="*/ 429 h 429"/>
                <a:gd name="T52" fmla="*/ 501 w 501"/>
                <a:gd name="T53" fmla="*/ 429 h 429"/>
                <a:gd name="T54" fmla="*/ 501 w 501"/>
                <a:gd name="T55" fmla="*/ 428 h 429"/>
                <a:gd name="T56" fmla="*/ 496 w 501"/>
                <a:gd name="T57" fmla="*/ 427 h 4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91" name="Freeform 10"/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171 w 937"/>
                <a:gd name="T1" fmla="*/ 136 h 326"/>
                <a:gd name="T2" fmla="*/ 78 w 937"/>
                <a:gd name="T3" fmla="*/ 89 h 326"/>
                <a:gd name="T4" fmla="*/ 125 w 937"/>
                <a:gd name="T5" fmla="*/ 53 h 326"/>
                <a:gd name="T6" fmla="*/ 186 w 937"/>
                <a:gd name="T7" fmla="*/ 100 h 326"/>
                <a:gd name="T8" fmla="*/ 253 w 937"/>
                <a:gd name="T9" fmla="*/ 100 h 326"/>
                <a:gd name="T10" fmla="*/ 128 w 937"/>
                <a:gd name="T11" fmla="*/ 0 h 326"/>
                <a:gd name="T12" fmla="*/ 12 w 937"/>
                <a:gd name="T13" fmla="*/ 94 h 326"/>
                <a:gd name="T14" fmla="*/ 104 w 937"/>
                <a:gd name="T15" fmla="*/ 183 h 326"/>
                <a:gd name="T16" fmla="*/ 197 w 937"/>
                <a:gd name="T17" fmla="*/ 234 h 326"/>
                <a:gd name="T18" fmla="*/ 136 w 937"/>
                <a:gd name="T19" fmla="*/ 273 h 326"/>
                <a:gd name="T20" fmla="*/ 67 w 937"/>
                <a:gd name="T21" fmla="*/ 215 h 326"/>
                <a:gd name="T22" fmla="*/ 1 w 937"/>
                <a:gd name="T23" fmla="*/ 215 h 326"/>
                <a:gd name="T24" fmla="*/ 134 w 937"/>
                <a:gd name="T25" fmla="*/ 326 h 326"/>
                <a:gd name="T26" fmla="*/ 263 w 937"/>
                <a:gd name="T27" fmla="*/ 226 h 326"/>
                <a:gd name="T28" fmla="*/ 171 w 937"/>
                <a:gd name="T29" fmla="*/ 136 h 326"/>
                <a:gd name="T30" fmla="*/ 541 w 937"/>
                <a:gd name="T31" fmla="*/ 121 h 326"/>
                <a:gd name="T32" fmla="*/ 541 w 937"/>
                <a:gd name="T33" fmla="*/ 121 h 326"/>
                <a:gd name="T34" fmla="*/ 473 w 937"/>
                <a:gd name="T35" fmla="*/ 87 h 326"/>
                <a:gd name="T36" fmla="*/ 374 w 937"/>
                <a:gd name="T37" fmla="*/ 204 h 326"/>
                <a:gd name="T38" fmla="*/ 475 w 937"/>
                <a:gd name="T39" fmla="*/ 325 h 326"/>
                <a:gd name="T40" fmla="*/ 543 w 937"/>
                <a:gd name="T41" fmla="*/ 290 h 326"/>
                <a:gd name="T42" fmla="*/ 544 w 937"/>
                <a:gd name="T43" fmla="*/ 290 h 326"/>
                <a:gd name="T44" fmla="*/ 544 w 937"/>
                <a:gd name="T45" fmla="*/ 319 h 326"/>
                <a:gd name="T46" fmla="*/ 603 w 937"/>
                <a:gd name="T47" fmla="*/ 319 h 326"/>
                <a:gd name="T48" fmla="*/ 603 w 937"/>
                <a:gd name="T49" fmla="*/ 8 h 326"/>
                <a:gd name="T50" fmla="*/ 541 w 937"/>
                <a:gd name="T51" fmla="*/ 8 h 326"/>
                <a:gd name="T52" fmla="*/ 541 w 937"/>
                <a:gd name="T53" fmla="*/ 121 h 326"/>
                <a:gd name="T54" fmla="*/ 490 w 937"/>
                <a:gd name="T55" fmla="*/ 278 h 326"/>
                <a:gd name="T56" fmla="*/ 436 w 937"/>
                <a:gd name="T57" fmla="*/ 206 h 326"/>
                <a:gd name="T58" fmla="*/ 490 w 937"/>
                <a:gd name="T59" fmla="*/ 134 h 326"/>
                <a:gd name="T60" fmla="*/ 543 w 937"/>
                <a:gd name="T61" fmla="*/ 205 h 326"/>
                <a:gd name="T62" fmla="*/ 490 w 937"/>
                <a:gd name="T63" fmla="*/ 278 h 326"/>
                <a:gd name="T64" fmla="*/ 741 w 937"/>
                <a:gd name="T65" fmla="*/ 87 h 326"/>
                <a:gd name="T66" fmla="*/ 626 w 937"/>
                <a:gd name="T67" fmla="*/ 206 h 326"/>
                <a:gd name="T68" fmla="*/ 741 w 937"/>
                <a:gd name="T69" fmla="*/ 325 h 326"/>
                <a:gd name="T70" fmla="*/ 846 w 937"/>
                <a:gd name="T71" fmla="*/ 249 h 326"/>
                <a:gd name="T72" fmla="*/ 792 w 937"/>
                <a:gd name="T73" fmla="*/ 249 h 326"/>
                <a:gd name="T74" fmla="*/ 743 w 937"/>
                <a:gd name="T75" fmla="*/ 278 h 326"/>
                <a:gd name="T76" fmla="*/ 687 w 937"/>
                <a:gd name="T77" fmla="*/ 221 h 326"/>
                <a:gd name="T78" fmla="*/ 850 w 937"/>
                <a:gd name="T79" fmla="*/ 221 h 326"/>
                <a:gd name="T80" fmla="*/ 741 w 937"/>
                <a:gd name="T81" fmla="*/ 87 h 326"/>
                <a:gd name="T82" fmla="*/ 687 w 937"/>
                <a:gd name="T83" fmla="*/ 182 h 326"/>
                <a:gd name="T84" fmla="*/ 739 w 937"/>
                <a:gd name="T85" fmla="*/ 134 h 326"/>
                <a:gd name="T86" fmla="*/ 788 w 937"/>
                <a:gd name="T87" fmla="*/ 182 h 326"/>
                <a:gd name="T88" fmla="*/ 687 w 937"/>
                <a:gd name="T89" fmla="*/ 182 h 326"/>
                <a:gd name="T90" fmla="*/ 875 w 937"/>
                <a:gd name="T91" fmla="*/ 319 h 326"/>
                <a:gd name="T92" fmla="*/ 937 w 937"/>
                <a:gd name="T93" fmla="*/ 319 h 326"/>
                <a:gd name="T94" fmla="*/ 937 w 937"/>
                <a:gd name="T95" fmla="*/ 8 h 326"/>
                <a:gd name="T96" fmla="*/ 875 w 937"/>
                <a:gd name="T97" fmla="*/ 8 h 326"/>
                <a:gd name="T98" fmla="*/ 875 w 937"/>
                <a:gd name="T99" fmla="*/ 319 h 326"/>
                <a:gd name="T100" fmla="*/ 286 w 937"/>
                <a:gd name="T101" fmla="*/ 319 h 326"/>
                <a:gd name="T102" fmla="*/ 348 w 937"/>
                <a:gd name="T103" fmla="*/ 319 h 326"/>
                <a:gd name="T104" fmla="*/ 348 w 937"/>
                <a:gd name="T105" fmla="*/ 93 h 326"/>
                <a:gd name="T106" fmla="*/ 286 w 937"/>
                <a:gd name="T107" fmla="*/ 93 h 326"/>
                <a:gd name="T108" fmla="*/ 286 w 937"/>
                <a:gd name="T109" fmla="*/ 319 h 326"/>
                <a:gd name="T110" fmla="*/ 286 w 937"/>
                <a:gd name="T111" fmla="*/ 59 h 326"/>
                <a:gd name="T112" fmla="*/ 348 w 937"/>
                <a:gd name="T113" fmla="*/ 59 h 326"/>
                <a:gd name="T114" fmla="*/ 348 w 937"/>
                <a:gd name="T115" fmla="*/ 8 h 326"/>
                <a:gd name="T116" fmla="*/ 286 w 937"/>
                <a:gd name="T117" fmla="*/ 8 h 326"/>
                <a:gd name="T118" fmla="*/ 286 w 937"/>
                <a:gd name="T119" fmla="*/ 59 h 3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</a:pPr>
              <a:endParaRPr lang="en-GB" dirty="0">
                <a:solidFill>
                  <a:srgbClr val="000000"/>
                </a:solidFill>
                <a:latin typeface="Arial"/>
              </a:endParaRPr>
            </a:p>
          </p:txBody>
        </p:sp>
      </p:grpSp>
      <p:cxnSp>
        <p:nvCxnSpPr>
          <p:cNvPr id="49" name="Straight Connector 48"/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238713050,&quot;Placement&quot;:&quot;Footer&quot;,&quot;Top&quot;:521.6203,&quot;Left&quot;:333.911743,&quot;SlideWidth&quot;:720,&quot;SlideHeight&quot;:540}">
            <a:extLst>
              <a:ext uri="{FF2B5EF4-FFF2-40B4-BE49-F238E27FC236}">
                <a16:creationId xmlns:a16="http://schemas.microsoft.com/office/drawing/2014/main" id="{2E57651D-1B28-4E6B-B281-A8FF6B08780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5"/>
    </p:custDataLst>
    <p:extLst>
      <p:ext uri="{BB962C8B-B14F-4D97-AF65-F5344CB8AC3E}">
        <p14:creationId xmlns:p14="http://schemas.microsoft.com/office/powerpoint/2010/main" val="49851496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.png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410" name="Objekt 5" hidden="1">
            <a:extLst>
              <a:ext uri="{FF2B5EF4-FFF2-40B4-BE49-F238E27FC236}">
                <a16:creationId xmlns:a16="http://schemas.microsoft.com/office/drawing/2014/main" id="{2AC14DB6-D519-40ED-A68E-F4FAF55001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17410" name="Objekt 5" hidden="1">
                        <a:extLst>
                          <a:ext uri="{FF2B5EF4-FFF2-40B4-BE49-F238E27FC236}">
                            <a16:creationId xmlns:a16="http://schemas.microsoft.com/office/drawing/2014/main" id="{2AC14DB6-D519-40ED-A68E-F4FAF550019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0" name="Title 1">
            <a:extLst>
              <a:ext uri="{FF2B5EF4-FFF2-40B4-BE49-F238E27FC236}">
                <a16:creationId xmlns:a16="http://schemas.microsoft.com/office/drawing/2014/main" id="{C314B200-FC10-4589-B9EB-DDAAFE99D3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492125"/>
          </a:xfrm>
        </p:spPr>
        <p:txBody>
          <a:bodyPr/>
          <a:lstStyle/>
          <a:p>
            <a:pPr eaLnBrk="1" hangingPunct="1">
              <a:defRPr/>
            </a:pPr>
            <a:r>
              <a:rPr lang="fr-FR" altLang="fr-FR" sz="3200" dirty="0" err="1"/>
              <a:t>Garanta</a:t>
            </a:r>
            <a:r>
              <a:rPr lang="fr-FR" altLang="fr-FR" sz="3200" dirty="0"/>
              <a:t> a </a:t>
            </a:r>
            <a:r>
              <a:rPr lang="fr-FR" altLang="fr-FR" sz="3200" dirty="0" err="1"/>
              <a:t>quantidade</a:t>
            </a:r>
            <a:r>
              <a:rPr lang="fr-FR" altLang="fr-FR" sz="3200" dirty="0"/>
              <a:t> </a:t>
            </a:r>
            <a:r>
              <a:rPr lang="fr-FR" altLang="fr-FR" sz="3200" dirty="0" err="1"/>
              <a:t>certa</a:t>
            </a:r>
            <a:r>
              <a:rPr lang="fr-FR" altLang="fr-FR" sz="3200" dirty="0"/>
              <a:t> de cola</a:t>
            </a:r>
          </a:p>
        </p:txBody>
      </p:sp>
      <p:sp>
        <p:nvSpPr>
          <p:cNvPr id="17429" name="Text Placeholder 2">
            <a:extLst>
              <a:ext uri="{FF2B5EF4-FFF2-40B4-BE49-F238E27FC236}">
                <a16:creationId xmlns:a16="http://schemas.microsoft.com/office/drawing/2014/main" id="{9FBBF1C6-FCA8-4AC5-BC48-F565F1B9AD95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647700" y="1392156"/>
            <a:ext cx="7997825" cy="307975"/>
          </a:xfrm>
        </p:spPr>
        <p:txBody>
          <a:bodyPr/>
          <a:lstStyle/>
          <a:p>
            <a:r>
              <a:rPr lang="fr-FR" altLang="fr-FR" dirty="0" err="1">
                <a:solidFill>
                  <a:srgbClr val="000000"/>
                </a:solidFill>
              </a:rPr>
              <a:t>Rolo</a:t>
            </a:r>
            <a:r>
              <a:rPr lang="fr-FR" altLang="fr-FR" dirty="0">
                <a:solidFill>
                  <a:srgbClr val="000000"/>
                </a:solidFill>
              </a:rPr>
              <a:t> de cola </a:t>
            </a:r>
            <a:r>
              <a:rPr lang="fr-FR" altLang="fr-FR" dirty="0" err="1">
                <a:solidFill>
                  <a:srgbClr val="000000"/>
                </a:solidFill>
              </a:rPr>
              <a:t>estriado</a:t>
            </a:r>
            <a:r>
              <a:rPr lang="fr-FR" altLang="fr-FR" dirty="0">
                <a:solidFill>
                  <a:srgbClr val="000000"/>
                </a:solidFill>
              </a:rPr>
              <a:t> - pacote “b”</a:t>
            </a:r>
          </a:p>
        </p:txBody>
      </p:sp>
      <p:sp>
        <p:nvSpPr>
          <p:cNvPr id="17430" name="Text Placeholder 2">
            <a:extLst>
              <a:ext uri="{FF2B5EF4-FFF2-40B4-BE49-F238E27FC236}">
                <a16:creationId xmlns:a16="http://schemas.microsoft.com/office/drawing/2014/main" id="{5C48F870-2BE3-4E22-A8DE-14624A60929E}"/>
              </a:ext>
            </a:extLst>
          </p:cNvPr>
          <p:cNvSpPr txBox="1">
            <a:spLocks/>
          </p:cNvSpPr>
          <p:nvPr/>
        </p:nvSpPr>
        <p:spPr bwMode="auto">
          <a:xfrm>
            <a:off x="633412" y="5902739"/>
            <a:ext cx="7978775" cy="4185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>
                <a:solidFill>
                  <a:srgbClr val="000000"/>
                </a:solidFill>
              </a:rPr>
              <a:t>Valor: </a:t>
            </a:r>
            <a:r>
              <a:rPr lang="de-CH" altLang="fr-FR" sz="800" dirty="0" err="1">
                <a:solidFill>
                  <a:srgbClr val="000000"/>
                </a:solidFill>
              </a:rPr>
              <a:t>Eficiência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manutenção</a:t>
            </a:r>
            <a:r>
              <a:rPr lang="de-CH" altLang="fr-FR" sz="800" dirty="0">
                <a:solidFill>
                  <a:srgbClr val="000000"/>
                </a:solidFill>
              </a:rPr>
              <a:t>, </a:t>
            </a:r>
            <a:r>
              <a:rPr lang="de-CH" altLang="fr-FR" sz="800" dirty="0" err="1">
                <a:solidFill>
                  <a:srgbClr val="000000"/>
                </a:solidFill>
              </a:rPr>
              <a:t>obsolescência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de-CH" altLang="fr-FR" sz="800" dirty="0" err="1">
                <a:solidFill>
                  <a:srgbClr val="000000"/>
                </a:solidFill>
              </a:rPr>
              <a:t>Equipamento</a:t>
            </a:r>
            <a:r>
              <a:rPr lang="de-CH" altLang="fr-FR" sz="800" dirty="0">
                <a:solidFill>
                  <a:srgbClr val="000000"/>
                </a:solidFill>
              </a:rPr>
              <a:t>: </a:t>
            </a:r>
            <a:r>
              <a:rPr lang="de-CH" altLang="fr-FR" sz="800" dirty="0" err="1">
                <a:solidFill>
                  <a:srgbClr val="000000"/>
                </a:solidFill>
              </a:rPr>
              <a:t>rotuladoras</a:t>
            </a:r>
            <a:r>
              <a:rPr lang="de-CH" altLang="fr-FR" sz="800" dirty="0">
                <a:solidFill>
                  <a:srgbClr val="000000"/>
                </a:solidFill>
              </a:rPr>
              <a:t> </a:t>
            </a:r>
            <a:r>
              <a:rPr lang="it-IT" altLang="it-IT" sz="800" kern="0" dirty="0">
                <a:solidFill>
                  <a:srgbClr val="000000"/>
                </a:solidFill>
                <a:ea typeface="ＭＳ Ｐゴシック"/>
              </a:rPr>
              <a:t>F15 Evo, Rollquattro, Rollquattro Evo, Matrix, Sidel Super Combi, EvoDECO</a:t>
            </a:r>
            <a:endParaRPr lang="de-CH" altLang="fr-FR" sz="800" dirty="0">
              <a:solidFill>
                <a:srgbClr val="000000"/>
              </a:solidFill>
            </a:endParaRPr>
          </a:p>
          <a:p>
            <a:pPr>
              <a:spcBef>
                <a:spcPct val="20000"/>
              </a:spcBef>
              <a:buClrTx/>
              <a:buFontTx/>
              <a:buNone/>
            </a:pPr>
            <a:r>
              <a:rPr lang="fr-FR" altLang="fr-FR" sz="800" dirty="0" err="1"/>
              <a:t>Catálogo</a:t>
            </a:r>
            <a:r>
              <a:rPr lang="fr-FR" altLang="fr-FR" sz="800" dirty="0"/>
              <a:t> </a:t>
            </a:r>
            <a:r>
              <a:rPr lang="fr-FR" altLang="fr-FR" sz="800" dirty="0" err="1"/>
              <a:t>código</a:t>
            </a:r>
            <a:r>
              <a:rPr lang="de-CH" altLang="fr-FR" sz="800" dirty="0">
                <a:solidFill>
                  <a:srgbClr val="000000"/>
                </a:solidFill>
              </a:rPr>
              <a:t>: AA27b</a:t>
            </a:r>
          </a:p>
        </p:txBody>
      </p:sp>
      <p:sp>
        <p:nvSpPr>
          <p:cNvPr id="17431" name="BainBulletsConfiguration" hidden="1">
            <a:extLst>
              <a:ext uri="{FF2B5EF4-FFF2-40B4-BE49-F238E27FC236}">
                <a16:creationId xmlns:a16="http://schemas.microsoft.com/office/drawing/2014/main" id="{7A2D8491-CF8D-48E7-9FA2-C8C483FA44E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700" y="12700"/>
            <a:ext cx="0" cy="15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buClr>
                <a:srgbClr val="E64B00"/>
              </a:buClr>
            </a:pPr>
            <a:endParaRPr lang="en-US" altLang="fr-FR" sz="100">
              <a:solidFill>
                <a:srgbClr val="FFFFFF"/>
              </a:solidFill>
            </a:endParaRPr>
          </a:p>
        </p:txBody>
      </p:sp>
      <p:grpSp>
        <p:nvGrpSpPr>
          <p:cNvPr id="13" name="Group 2">
            <a:extLst>
              <a:ext uri="{FF2B5EF4-FFF2-40B4-BE49-F238E27FC236}">
                <a16:creationId xmlns:a16="http://schemas.microsoft.com/office/drawing/2014/main" id="{88469FFC-C0C7-4222-A43F-31EEFBE494AF}"/>
              </a:ext>
            </a:extLst>
          </p:cNvPr>
          <p:cNvGrpSpPr>
            <a:grpSpLocks/>
          </p:cNvGrpSpPr>
          <p:nvPr/>
        </p:nvGrpSpPr>
        <p:grpSpPr bwMode="auto">
          <a:xfrm>
            <a:off x="635000" y="1685550"/>
            <a:ext cx="7991475" cy="4177087"/>
            <a:chOff x="650875" y="1906524"/>
            <a:chExt cx="7991475" cy="4042232"/>
          </a:xfrm>
        </p:grpSpPr>
        <p:sp>
          <p:nvSpPr>
            <p:cNvPr id="15" name="Rechteck 3">
              <a:extLst>
                <a:ext uri="{FF2B5EF4-FFF2-40B4-BE49-F238E27FC236}">
                  <a16:creationId xmlns:a16="http://schemas.microsoft.com/office/drawing/2014/main" id="{855C8BF0-071B-4EF2-BED3-A5E1C70C880E}"/>
                </a:ext>
              </a:extLst>
            </p:cNvPr>
            <p:cNvSpPr/>
            <p:nvPr/>
          </p:nvSpPr>
          <p:spPr>
            <a:xfrm>
              <a:off x="650875" y="1906525"/>
              <a:ext cx="3889375" cy="376280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lvl="0" eaLnBrk="0" fontAlgn="base" hangingPunct="0">
                <a:spcBef>
                  <a:spcPts val="300"/>
                </a:spcBef>
                <a:spcAft>
                  <a:spcPct val="0"/>
                </a:spcAft>
                <a:buSzPct val="100000"/>
              </a:pPr>
              <a:r>
                <a:rPr lang="de-CH" altLang="fr-FR" sz="1400" b="1" dirty="0">
                  <a:solidFill>
                    <a:srgbClr val="FFFFFF"/>
                  </a:solidFill>
                  <a:latin typeface="Arial" charset="0"/>
                  <a:ea typeface="ＭＳ Ｐゴシック" pitchFamily="34" charset="-128"/>
                </a:rPr>
                <a:t>VALOR E VANTAGENS</a:t>
              </a:r>
            </a:p>
          </p:txBody>
        </p:sp>
        <p:sp>
          <p:nvSpPr>
            <p:cNvPr id="16" name="Rechteck 4">
              <a:extLst>
                <a:ext uri="{FF2B5EF4-FFF2-40B4-BE49-F238E27FC236}">
                  <a16:creationId xmlns:a16="http://schemas.microsoft.com/office/drawing/2014/main" id="{D7145525-0764-4150-ABF4-A7FBCCE595F0}"/>
                </a:ext>
              </a:extLst>
            </p:cNvPr>
            <p:cNvSpPr>
              <a:spLocks/>
            </p:cNvSpPr>
            <p:nvPr/>
          </p:nvSpPr>
          <p:spPr>
            <a:xfrm>
              <a:off x="650875" y="2282805"/>
              <a:ext cx="3889375" cy="3665950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0" fontAlgn="base" latinLnBrk="0" hangingPunct="0">
                <a:lnSpc>
                  <a:spcPct val="100000"/>
                </a:lnSpc>
                <a:spcBef>
                  <a:spcPct val="2000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7" name="Rechteck 11">
              <a:extLst>
                <a:ext uri="{FF2B5EF4-FFF2-40B4-BE49-F238E27FC236}">
                  <a16:creationId xmlns:a16="http://schemas.microsoft.com/office/drawing/2014/main" id="{1E7593C8-4F8B-450F-8F95-92C42261B7C5}"/>
                </a:ext>
              </a:extLst>
            </p:cNvPr>
            <p:cNvSpPr/>
            <p:nvPr/>
          </p:nvSpPr>
          <p:spPr>
            <a:xfrm>
              <a:off x="4752975" y="1906524"/>
              <a:ext cx="3889375" cy="388983"/>
            </a:xfrm>
            <a:prstGeom prst="rect">
              <a:avLst/>
            </a:prstGeom>
            <a:solidFill>
              <a:schemeClr val="accent4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 anchor="ctr"/>
            <a:lstStyle/>
            <a:p>
              <a:pPr marL="190500" indent="-190500">
                <a:spcBef>
                  <a:spcPts val="300"/>
                </a:spcBef>
                <a:buClr>
                  <a:schemeClr val="folHlink"/>
                </a:buClr>
                <a:defRPr/>
              </a:pPr>
              <a:r>
                <a:rPr lang="de-CH" altLang="de-DE" sz="1400" b="1" noProof="1">
                  <a:solidFill>
                    <a:schemeClr val="bg1"/>
                  </a:solidFill>
                </a:rPr>
                <a:t>DESCRIÇÃO</a:t>
              </a:r>
              <a:endParaRPr lang="pt-BR" altLang="de-DE" sz="1400" dirty="0">
                <a:solidFill>
                  <a:schemeClr val="bg1"/>
                </a:solidFill>
                <a:cs typeface="Arial" charset="0"/>
              </a:endParaRPr>
            </a:p>
          </p:txBody>
        </p:sp>
        <p:sp>
          <p:nvSpPr>
            <p:cNvPr id="18" name="Rechteck 12">
              <a:extLst>
                <a:ext uri="{FF2B5EF4-FFF2-40B4-BE49-F238E27FC236}">
                  <a16:creationId xmlns:a16="http://schemas.microsoft.com/office/drawing/2014/main" id="{198EAB97-8DFA-46C7-A9A5-9DCB1A9E39DA}"/>
                </a:ext>
              </a:extLst>
            </p:cNvPr>
            <p:cNvSpPr>
              <a:spLocks/>
            </p:cNvSpPr>
            <p:nvPr/>
          </p:nvSpPr>
          <p:spPr>
            <a:xfrm>
              <a:off x="4752975" y="2295508"/>
              <a:ext cx="3889375" cy="3653248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08000" tIns="72000" rIns="108000" bIns="72000"/>
            <a:lstStyle/>
            <a:p>
              <a:pPr marL="342900" marR="0" lvl="0" indent="-34290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E64B00"/>
                </a:buClr>
                <a:buSzTx/>
                <a:buFont typeface="Wingdings" charset="2"/>
                <a:buChar char="§"/>
                <a:tabLst/>
                <a:defRPr/>
              </a:pPr>
              <a:endParaRPr kumimoji="0" lang="en-US" altLang="zh-CN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宋体" charset="-122"/>
                <a:cs typeface="+mn-cs"/>
              </a:endParaRPr>
            </a:p>
          </p:txBody>
        </p:sp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ECE1284-D2E7-4DAB-98AB-1C7ADB6E93CC}"/>
              </a:ext>
            </a:extLst>
          </p:cNvPr>
          <p:cNvSpPr/>
          <p:nvPr/>
        </p:nvSpPr>
        <p:spPr>
          <a:xfrm>
            <a:off x="633412" y="2095327"/>
            <a:ext cx="3890963" cy="3328594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Produção segura substituindo componentes obsoletos (rolos de cromo não são mais fabricados) por rolos de cola de última tecnologia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Evita respingos de cola e filamentos garantidos pela forma de “nichos”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Garanta a quantidade adequada de cola aplicada na etiqueta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Melhor controle da quantidade de cola aplicada: se mais cola for necessária é o suficiente para aumentar o volume dos nichos e a área dos blocos de etiquetas;</a:t>
            </a:r>
          </a:p>
          <a:p>
            <a:pPr marL="182563" lvl="0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Reduza os custos de manutenção e o tempo de máquina parada: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a substituição do rolo recomendada vai de 9.000 h com a versão real para 36.000 h com a nova versão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Tempo de vida do scrapper dobrou</a:t>
            </a:r>
          </a:p>
          <a:p>
            <a:pPr marL="639763" lvl="1" indent="-182563" eaLnBrk="0" hangingPunct="0">
              <a:spcBef>
                <a:spcPct val="45000"/>
              </a:spcBef>
              <a:buClr>
                <a:srgbClr val="E64B00"/>
              </a:buClr>
              <a:buFont typeface="Wingdings" pitchFamily="2" charset="2"/>
              <a:buChar char="§"/>
              <a:defRPr/>
            </a:pPr>
            <a:r>
              <a:rPr lang="pt-BR" sz="1050" dirty="0">
                <a:solidFill>
                  <a:srgbClr val="000000"/>
                </a:solidFill>
              </a:rPr>
              <a:t>Custo reduzido de peças de reposição (em média -15%)</a:t>
            </a:r>
            <a:endParaRPr lang="en-GB" sz="1050" dirty="0">
              <a:solidFill>
                <a:srgbClr val="000000"/>
              </a:solidFill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9BE5A90B-0C7D-43D0-82F1-136EF760D77E}"/>
              </a:ext>
            </a:extLst>
          </p:cNvPr>
          <p:cNvSpPr/>
          <p:nvPr/>
        </p:nvSpPr>
        <p:spPr>
          <a:xfrm>
            <a:off x="4737100" y="2070975"/>
            <a:ext cx="3823487" cy="2042473"/>
          </a:xfrm>
          <a:prstGeom prst="rect">
            <a:avLst/>
          </a:prstGeom>
        </p:spPr>
        <p:txBody>
          <a:bodyPr wrap="square" lIns="72000" tIns="36000" rIns="72000" bIns="36000">
            <a:spAutoFit/>
          </a:bodyPr>
          <a:lstStyle/>
          <a:p>
            <a:pPr marL="171450" lvl="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Sendo a tecnologia de rolo de cola existente obsoleta, a Sidel fornece um novo conjunto para fornecer a quantidade certa de cola no rótulo: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Barra de cola auto-ajustável com sistema raspador integrado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Novo conceito de transferência de cola com temperatura controlada  </a:t>
            </a:r>
          </a:p>
          <a:p>
            <a:pPr marL="628650" lvl="1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Nichos criados com corte a laser</a:t>
            </a:r>
          </a:p>
          <a:p>
            <a:pPr marL="171450" lvl="0" indent="-171450" algn="just" eaLnBrk="0" hangingPunct="0">
              <a:spcBef>
                <a:spcPct val="450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/>
            </a:pPr>
            <a:r>
              <a:rPr lang="pt-BR" altLang="it-IT" sz="1000" dirty="0">
                <a:solidFill>
                  <a:srgbClr val="000000"/>
                </a:solidFill>
              </a:rPr>
              <a:t>O pacote consiste em um grupo pré-montado completo contendo o novo rolo de cola e as peças de adaptação necessárias</a:t>
            </a:r>
            <a:endParaRPr lang="en-GB" altLang="it-IT" sz="1000" dirty="0">
              <a:solidFill>
                <a:srgbClr val="000000"/>
              </a:solidFill>
            </a:endParaRPr>
          </a:p>
        </p:txBody>
      </p:sp>
      <p:pic>
        <p:nvPicPr>
          <p:cNvPr id="21" name="Immagine 14">
            <a:extLst>
              <a:ext uri="{FF2B5EF4-FFF2-40B4-BE49-F238E27FC236}">
                <a16:creationId xmlns:a16="http://schemas.microsoft.com/office/drawing/2014/main" id="{02B3747E-7A15-4B17-8496-7B19D973E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61" t="12022" r="24397" b="15417"/>
          <a:stretch>
            <a:fillRect/>
          </a:stretch>
        </p:blipFill>
        <p:spPr bwMode="auto">
          <a:xfrm>
            <a:off x="4784331" y="4165055"/>
            <a:ext cx="1295958" cy="1628596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Immagine 16">
            <a:extLst>
              <a:ext uri="{FF2B5EF4-FFF2-40B4-BE49-F238E27FC236}">
                <a16:creationId xmlns:a16="http://schemas.microsoft.com/office/drawing/2014/main" id="{C874C190-AD0E-4824-85C2-699DD3E2D9A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65" t="9238" r="33531" b="1913"/>
          <a:stretch>
            <a:fillRect/>
          </a:stretch>
        </p:blipFill>
        <p:spPr bwMode="auto">
          <a:xfrm>
            <a:off x="7739406" y="4114539"/>
            <a:ext cx="769594" cy="1679112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Immagine 15">
            <a:extLst>
              <a:ext uri="{FF2B5EF4-FFF2-40B4-BE49-F238E27FC236}">
                <a16:creationId xmlns:a16="http://schemas.microsoft.com/office/drawing/2014/main" id="{F961FC52-AD62-4D7E-8A45-2EC643CD3C5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313" t="13252" r="22504" b="15125"/>
          <a:stretch>
            <a:fillRect/>
          </a:stretch>
        </p:blipFill>
        <p:spPr bwMode="auto">
          <a:xfrm>
            <a:off x="6293014" y="4188020"/>
            <a:ext cx="1295958" cy="1595828"/>
          </a:xfrm>
          <a:prstGeom prst="rect">
            <a:avLst/>
          </a:prstGeom>
          <a:noFill/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43275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COUNT" val="13"/>
  <p:tag name="ARTICULATE_PROJECT_OPEN" val="0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3238E6399ADC743975B72739A574501" ma:contentTypeVersion="12" ma:contentTypeDescription="Create a new document." ma:contentTypeScope="" ma:versionID="7ff5b4ffbb848aab27ebb88706a84c13">
  <xsd:schema xmlns:xsd="http://www.w3.org/2001/XMLSchema" xmlns:xs="http://www.w3.org/2001/XMLSchema" xmlns:p="http://schemas.microsoft.com/office/2006/metadata/properties" xmlns:ns3="a43ef570-d230-47fc-9dce-81ae025d238e" xmlns:ns4="434e2f32-19b3-47cb-9d2c-18393d983ab8" targetNamespace="http://schemas.microsoft.com/office/2006/metadata/properties" ma:root="true" ma:fieldsID="958fc629428c9b11726ee5a1f2c4f5f6" ns3:_="" ns4:_="">
    <xsd:import namespace="a43ef570-d230-47fc-9dce-81ae025d238e"/>
    <xsd:import namespace="434e2f32-19b3-47cb-9d2c-18393d983ab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43ef570-d230-47fc-9dce-81ae025d238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KeyPoints" ma:index="14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5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OCR" ma:index="17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34e2f32-19b3-47cb-9d2c-18393d983ab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1E27CFCB-7538-47A0-8A0C-B94771665440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F29FD6B-2A8E-45F5-8549-1812974F33C0}">
  <ds:schemaRefs>
    <ds:schemaRef ds:uri="http://schemas.microsoft.com/office/2006/documentManagement/types"/>
    <ds:schemaRef ds:uri="a43ef570-d230-47fc-9dce-81ae025d238e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  <ds:schemaRef ds:uri="http://purl.org/dc/dcmitype/"/>
    <ds:schemaRef ds:uri="http://schemas.openxmlformats.org/package/2006/metadata/core-properties"/>
    <ds:schemaRef ds:uri="434e2f32-19b3-47cb-9d2c-18393d983ab8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5C34F76F-28C2-4486-8E50-51DD11F1E0A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43ef570-d230-47fc-9dce-81ae025d238e"/>
    <ds:schemaRef ds:uri="434e2f32-19b3-47cb-9d2c-18393d983a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N-modele</Template>
  <TotalTime>1343</TotalTime>
  <Words>241</Words>
  <Application>Microsoft Office PowerPoint</Application>
  <PresentationFormat>On-screen Show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ＭＳ Ｐゴシック</vt:lpstr>
      <vt:lpstr>宋体</vt:lpstr>
      <vt:lpstr>Arial</vt:lpstr>
      <vt:lpstr>Wingdings</vt:lpstr>
      <vt:lpstr>2_NewSidel_Template_4x3_with add layouts</vt:lpstr>
      <vt:lpstr>think-cell Folie</vt:lpstr>
      <vt:lpstr>Garanta a quantidade certa de cola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is is an example  of a presentation title</dc:title>
  <dc:creator>Claudio POMO</dc:creator>
  <cp:lastModifiedBy>Sorega, Dan</cp:lastModifiedBy>
  <cp:revision>100</cp:revision>
  <dcterms:created xsi:type="dcterms:W3CDTF">2018-02-10T17:04:39Z</dcterms:created>
  <dcterms:modified xsi:type="dcterms:W3CDTF">2021-04-20T13:08:3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e35bb0a3-90cf-41a8-939e-500b35438edf_Enabled">
    <vt:lpwstr>True</vt:lpwstr>
  </property>
  <property fmtid="{D5CDD505-2E9C-101B-9397-08002B2CF9AE}" pid="5" name="MSIP_Label_e35bb0a3-90cf-41a8-939e-500b35438edf_SiteId">
    <vt:lpwstr>2390cbd1-e663-4321-bc93-ba298637ce52</vt:lpwstr>
  </property>
  <property fmtid="{D5CDD505-2E9C-101B-9397-08002B2CF9AE}" pid="6" name="MSIP_Label_e35bb0a3-90cf-41a8-939e-500b35438edf_Owner">
    <vt:lpwstr>107200@sidel.com</vt:lpwstr>
  </property>
  <property fmtid="{D5CDD505-2E9C-101B-9397-08002B2CF9AE}" pid="7" name="MSIP_Label_e35bb0a3-90cf-41a8-939e-500b35438edf_SetDate">
    <vt:lpwstr>2017-09-26T14:43:53.5499116+02:00</vt:lpwstr>
  </property>
  <property fmtid="{D5CDD505-2E9C-101B-9397-08002B2CF9AE}" pid="8" name="MSIP_Label_e35bb0a3-90cf-41a8-939e-500b35438edf_Name">
    <vt:lpwstr>Sidel-Confidential</vt:lpwstr>
  </property>
  <property fmtid="{D5CDD505-2E9C-101B-9397-08002B2CF9AE}" pid="9" name="MSIP_Label_e35bb0a3-90cf-41a8-939e-500b35438edf_Application">
    <vt:lpwstr>Microsoft Azure Information Protection</vt:lpwstr>
  </property>
  <property fmtid="{D5CDD505-2E9C-101B-9397-08002B2CF9AE}" pid="10" name="MSIP_Label_e35bb0a3-90cf-41a8-939e-500b35438edf_Extended_MSFT_Method">
    <vt:lpwstr>Automatic</vt:lpwstr>
  </property>
  <property fmtid="{D5CDD505-2E9C-101B-9397-08002B2CF9AE}" pid="11" name="ContentTypeId">
    <vt:lpwstr>0x01010093238E6399ADC743975B72739A574501</vt:lpwstr>
  </property>
  <property fmtid="{D5CDD505-2E9C-101B-9397-08002B2CF9AE}" pid="12" name="MSIP_Label_94480757-a570-4f64-84e7-c5b3ffe9d573_Enabled">
    <vt:lpwstr>true</vt:lpwstr>
  </property>
  <property fmtid="{D5CDD505-2E9C-101B-9397-08002B2CF9AE}" pid="13" name="MSIP_Label_94480757-a570-4f64-84e7-c5b3ffe9d573_SetDate">
    <vt:lpwstr>2021-04-20T13:08:39Z</vt:lpwstr>
  </property>
  <property fmtid="{D5CDD505-2E9C-101B-9397-08002B2CF9AE}" pid="14" name="MSIP_Label_94480757-a570-4f64-84e7-c5b3ffe9d573_Method">
    <vt:lpwstr>Standard</vt:lpwstr>
  </property>
  <property fmtid="{D5CDD505-2E9C-101B-9397-08002B2CF9AE}" pid="15" name="MSIP_Label_94480757-a570-4f64-84e7-c5b3ffe9d573_Name">
    <vt:lpwstr>General</vt:lpwstr>
  </property>
  <property fmtid="{D5CDD505-2E9C-101B-9397-08002B2CF9AE}" pid="16" name="MSIP_Label_94480757-a570-4f64-84e7-c5b3ffe9d573_SiteId">
    <vt:lpwstr>2390cbd1-e663-4321-bc93-ba298637ce52</vt:lpwstr>
  </property>
  <property fmtid="{D5CDD505-2E9C-101B-9397-08002B2CF9AE}" pid="17" name="MSIP_Label_94480757-a570-4f64-84e7-c5b3ffe9d573_ActionId">
    <vt:lpwstr/>
  </property>
  <property fmtid="{D5CDD505-2E9C-101B-9397-08002B2CF9AE}" pid="18" name="MSIP_Label_94480757-a570-4f64-84e7-c5b3ffe9d573_ContentBits">
    <vt:lpwstr>2</vt:lpwstr>
  </property>
</Properties>
</file>